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7"/>
  </p:notesMasterIdLst>
  <p:handoutMasterIdLst>
    <p:handoutMasterId r:id="rId18"/>
  </p:handoutMasterIdLst>
  <p:sldIdLst>
    <p:sldId id="275" r:id="rId2"/>
    <p:sldId id="409" r:id="rId3"/>
    <p:sldId id="287" r:id="rId4"/>
    <p:sldId id="309" r:id="rId5"/>
    <p:sldId id="313" r:id="rId6"/>
    <p:sldId id="315" r:id="rId7"/>
    <p:sldId id="317" r:id="rId8"/>
    <p:sldId id="285" r:id="rId9"/>
    <p:sldId id="286" r:id="rId10"/>
    <p:sldId id="408" r:id="rId11"/>
    <p:sldId id="344" r:id="rId12"/>
    <p:sldId id="345" r:id="rId13"/>
    <p:sldId id="346" r:id="rId14"/>
    <p:sldId id="350" r:id="rId15"/>
    <p:sldId id="348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5440" autoAdjust="0"/>
  </p:normalViewPr>
  <p:slideViewPr>
    <p:cSldViewPr snapToGrid="0">
      <p:cViewPr varScale="1">
        <p:scale>
          <a:sx n="91" d="100"/>
          <a:sy n="91" d="100"/>
        </p:scale>
        <p:origin x="227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88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082B1-427E-41DB-ABE5-DAB9BFFC394E}" type="datetimeFigureOut">
              <a:rPr lang="en-US" smtClean="0"/>
              <a:t>4/12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209448-722B-41B2-BE86-BF6863A1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30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4/12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4/12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4/12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4/12/21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4/12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4/12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4/12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lt Winters Catch u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33133767"/>
              </p:ext>
            </p:extLst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Quick Re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6052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an Average – good for population summar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ach record has the same weight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/>
                  <a:t>10+20+30+40+50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/>
                  <a:t>5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=30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)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entered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30+40+5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…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4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15</a:t>
            </a:r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scriptive because it uses values from the future so not good for forecasting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railing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20+30+4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3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2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s preceding window values so ok for forecasts but lags for trend and seasonal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xponential Smooth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/>
              <a:t>Older records in the window have the </a:t>
            </a:r>
            <a:r>
              <a:rPr lang="en-US" sz="2800" b="1" u="sng" dirty="0"/>
              <a:t>diminishing</a:t>
            </a:r>
            <a:r>
              <a:rPr lang="en-US" sz="2800" u="sng" dirty="0"/>
              <a:t>  weigh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ues are weighted so their impact diminishes in the average the farther back.</a:t>
            </a: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/>
              <a:t>α</a:t>
            </a:r>
            <a:r>
              <a:rPr lang="en-US" sz="2400" b="1" dirty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0 = more weight is given to observations from the more distant 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 = all weight given to the most recent (same as a true Naïve forecast)</a:t>
            </a:r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trike="sngStrike" dirty="0"/>
              <a:t>Open </a:t>
            </a:r>
            <a:r>
              <a:rPr lang="en-US" strike="sngStrike" dirty="0" err="1"/>
              <a:t>F_HoltWintersWMT.R</a:t>
            </a:r>
            <a:endParaRPr lang="en-US" strike="sngStrik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W applies exponential smoothing to </a:t>
            </a:r>
            <a:r>
              <a:rPr lang="en-US" b="1" dirty="0">
                <a:solidFill>
                  <a:schemeClr val="bg1"/>
                </a:solidFill>
              </a:rPr>
              <a:t>leve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1" dirty="0">
                <a:solidFill>
                  <a:schemeClr val="bg1"/>
                </a:solidFill>
              </a:rPr>
              <a:t>trend</a:t>
            </a:r>
            <a:r>
              <a:rPr lang="en-US" dirty="0">
                <a:solidFill>
                  <a:schemeClr val="bg1"/>
                </a:solidFill>
              </a:rPr>
              <a:t> and </a:t>
            </a:r>
            <a:r>
              <a:rPr lang="en-US" b="1" dirty="0">
                <a:solidFill>
                  <a:schemeClr val="bg1"/>
                </a:solidFill>
              </a:rPr>
              <a:t>seasonality</a:t>
            </a:r>
            <a:r>
              <a:rPr lang="en-US" dirty="0">
                <a:solidFill>
                  <a:schemeClr val="bg1"/>
                </a:solidFill>
              </a:rPr>
              <a:t> individually then combines them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F4E0A8E-DABF-AC4C-B6AB-D23F46B993E8}"/>
              </a:ext>
            </a:extLst>
          </p:cNvPr>
          <p:cNvSpPr txBox="1">
            <a:spLocks/>
          </p:cNvSpPr>
          <p:nvPr/>
        </p:nvSpPr>
        <p:spPr>
          <a:xfrm>
            <a:off x="255856" y="3429000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RENAMED </a:t>
            </a:r>
            <a:r>
              <a:rPr lang="en-US" dirty="0" err="1"/>
              <a:t>ZZZ_HoltWintersWMT.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14363" y="1111250"/>
          <a:ext cx="7915275" cy="2377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Quick Re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4/1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142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time is not interacting between rows </a:t>
            </a:r>
            <a:r>
              <a:rPr lang="en-US" i="1" dirty="0"/>
              <a:t>(or it had not better be) </a:t>
            </a:r>
            <a:r>
              <a:rPr lang="en-US" dirty="0"/>
              <a:t>but is present at the observational row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s for each observation</a:t>
            </a: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typically (not always) 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38051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data to create future time series values, doesn’t have to explain the reason for observed changes.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4/12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inside the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390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Level </a:t>
            </a:r>
            <a:r>
              <a:rPr lang="en-US" dirty="0"/>
              <a:t>– an average of the observations “steady state”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EE5A5B-AF0E-E348-919E-17978B11DDE8}"/>
              </a:ext>
            </a:extLst>
          </p:cNvPr>
          <p:cNvSpPr txBox="1">
            <a:spLocks/>
          </p:cNvSpPr>
          <p:nvPr/>
        </p:nvSpPr>
        <p:spPr>
          <a:xfrm>
            <a:off x="628650" y="2551588"/>
            <a:ext cx="8129588" cy="59147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Trend </a:t>
            </a:r>
            <a:r>
              <a:rPr lang="en-US" dirty="0"/>
              <a:t>– are values increasing, decreasing or stationar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7D42F0-1835-964E-AB15-240A59C8DDB2}"/>
              </a:ext>
            </a:extLst>
          </p:cNvPr>
          <p:cNvSpPr txBox="1">
            <a:spLocks/>
          </p:cNvSpPr>
          <p:nvPr/>
        </p:nvSpPr>
        <p:spPr>
          <a:xfrm>
            <a:off x="628650" y="3729371"/>
            <a:ext cx="8129588" cy="59929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Seasonality </a:t>
            </a:r>
            <a:r>
              <a:rPr lang="en-US" dirty="0"/>
              <a:t>– is there a repeating pattern in the periodicit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D1D24B8-DFD0-2843-A6F8-21A3CD8011BA}"/>
              </a:ext>
            </a:extLst>
          </p:cNvPr>
          <p:cNvSpPr txBox="1">
            <a:spLocks/>
          </p:cNvSpPr>
          <p:nvPr/>
        </p:nvSpPr>
        <p:spPr>
          <a:xfrm>
            <a:off x="628650" y="4860987"/>
            <a:ext cx="8129588" cy="102461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Noise – </a:t>
            </a:r>
            <a:r>
              <a:rPr lang="en-US" dirty="0"/>
              <a:t>unexplained values or “residuals” from adding “trend”, “seasonality” and “level” together.  Basically its what left, and unaccounted for.</a:t>
            </a:r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artitioning 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/>
              <a:t>Instead 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&amp; historical accuracy </a:t>
            </a:r>
            <a:r>
              <a:rPr lang="en-US" sz="1600" dirty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/>
          </a:p>
        </p:txBody>
      </p:sp>
      <p:grpSp>
        <p:nvGrpSpPr>
          <p:cNvPr id="7" name="Group 6"/>
          <p:cNvGrpSpPr/>
          <p:nvPr/>
        </p:nvGrpSpPr>
        <p:grpSpPr>
          <a:xfrm>
            <a:off x="742950" y="3914753"/>
            <a:ext cx="7562850" cy="1276350"/>
            <a:chOff x="742950" y="4371968"/>
            <a:chExt cx="7562850" cy="1276350"/>
          </a:xfrm>
        </p:grpSpPr>
        <p:sp>
          <p:nvSpPr>
            <p:cNvPr id="2" name="Right Arrow 1"/>
            <p:cNvSpPr/>
            <p:nvPr/>
          </p:nvSpPr>
          <p:spPr>
            <a:xfrm>
              <a:off x="742950" y="4371968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l Data Points</a:t>
              </a:r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0" y="5053005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ing Data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3" y="5062530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alidation</a:t>
              </a:r>
            </a:p>
          </p:txBody>
        </p:sp>
        <p:sp>
          <p:nvSpPr>
            <p:cNvPr id="3" name="Isosceles Triangle 2"/>
            <p:cNvSpPr/>
            <p:nvPr/>
          </p:nvSpPr>
          <p:spPr>
            <a:xfrm rot="10800000">
              <a:off x="3569494" y="4872037"/>
              <a:ext cx="1400175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785813" y="5743574"/>
            <a:ext cx="7572375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-setting data with regard to time is called “out of time” sampling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9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4/12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925</TotalTime>
  <Words>832</Words>
  <Application>Microsoft Macintosh PowerPoint</Application>
  <PresentationFormat>On-screen Show (4:3)</PresentationFormat>
  <Paragraphs>194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libri Light</vt:lpstr>
      <vt:lpstr>Consolas</vt:lpstr>
      <vt:lpstr>Wingdings 2</vt:lpstr>
      <vt:lpstr>Office Theme</vt:lpstr>
      <vt:lpstr>think-cell Slide</vt:lpstr>
      <vt:lpstr>Holt Winters Catch up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The data inside the time series data</vt:lpstr>
      <vt:lpstr>Time Series Partitioning is not random</vt:lpstr>
      <vt:lpstr>Summary </vt:lpstr>
      <vt:lpstr>Agenda</vt:lpstr>
      <vt:lpstr>But first averages…</vt:lpstr>
      <vt:lpstr>But first averages…</vt:lpstr>
      <vt:lpstr>But first averages…</vt:lpstr>
      <vt:lpstr>But first averages…</vt:lpstr>
      <vt:lpstr>Open F_HoltWintersWMT.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Kwartler, Edward</cp:lastModifiedBy>
  <cp:revision>167</cp:revision>
  <dcterms:created xsi:type="dcterms:W3CDTF">2018-05-11T14:06:45Z</dcterms:created>
  <dcterms:modified xsi:type="dcterms:W3CDTF">2021-04-12T23:11:11Z</dcterms:modified>
</cp:coreProperties>
</file>